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3.xml" ContentType="application/vnd.openxmlformats-officedocument.them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52" r:id="rId5"/>
  </p:sldMasterIdLst>
  <p:notesMasterIdLst>
    <p:notesMasterId r:id="rId9"/>
  </p:notesMasterIdLst>
  <p:sldIdLst>
    <p:sldId id="818" r:id="rId6"/>
    <p:sldId id="850" r:id="rId7"/>
    <p:sldId id="849" r:id="rId8"/>
  </p:sldIdLst>
  <p:sldSz cx="12192000" cy="6858000"/>
  <p:notesSz cx="6858000" cy="9144000"/>
  <p:custDataLst>
    <p:tags r:id="rId1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BB4004C-EA86-176F-B3D2-BEBA069F5769}" name="Stefanie Mpiyakhe" initials="SM" userId="S::stef@bravegroup.co.za::5232a352-55aa-490d-a92f-c050863fe620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DB6AA"/>
    <a:srgbClr val="ACC3C3"/>
    <a:srgbClr val="E4BC7F"/>
    <a:srgbClr val="C2C382"/>
    <a:srgbClr val="CA9987"/>
    <a:srgbClr val="B49180"/>
    <a:srgbClr val="82A5A5"/>
    <a:srgbClr val="D69B40"/>
    <a:srgbClr val="A3A543"/>
    <a:srgbClr val="B0664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80" d="100"/>
          <a:sy n="80" d="100"/>
        </p:scale>
        <p:origin x="754" y="5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8/10/relationships/authors" Target="authors.xml"/><Relationship Id="rId10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>
              <a:defRPr sz="1200"/>
            </a:lvl1pPr>
          </a:lstStyle>
          <a:p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8FE79EC-29B1-4A54-B46B-ADFA5C0A41D5}" type="datetimeFigureOut">
              <a:rPr lang="en-ZA" smtClean="0"/>
              <a:t>2024/07/01</a:t>
            </a:fld>
            <a:endParaRPr lang="en-Z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Z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ZA"/>
              <a:t>Edit Master text styles</a:t>
            </a:r>
          </a:p>
          <a:p>
            <a:pPr lvl="1"/>
            <a:r>
              <a:rPr lang="en-ZA"/>
              <a:t>Second level</a:t>
            </a:r>
          </a:p>
          <a:p>
            <a:pPr lvl="2"/>
            <a:r>
              <a:rPr lang="en-ZA"/>
              <a:t>Third level</a:t>
            </a:r>
          </a:p>
          <a:p>
            <a:pPr lvl="3"/>
            <a:r>
              <a:rPr lang="en-ZA"/>
              <a:t>Fourth level</a:t>
            </a:r>
          </a:p>
          <a:p>
            <a:pPr lvl="4"/>
            <a:r>
              <a:rPr lang="en-ZA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>
              <a:defRPr sz="1200"/>
            </a:lvl1pPr>
          </a:lstStyle>
          <a:p>
            <a:endParaRPr lang="en-Z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1CA291F-663B-47B1-87DD-51E5B01DA0AE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3856458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.emf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5.emf"/><Relationship Id="rId10" Type="http://schemas.openxmlformats.org/officeDocument/2006/relationships/image" Target="../media/image8.jpeg"/><Relationship Id="rId4" Type="http://schemas.openxmlformats.org/officeDocument/2006/relationships/image" Target="../media/image4.jpeg"/><Relationship Id="rId9" Type="http://schemas.openxmlformats.org/officeDocument/2006/relationships/image" Target="../media/image7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9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1.jpe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10.jpe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emf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5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Relationship Id="rId9" Type="http://schemas.openxmlformats.org/officeDocument/2006/relationships/image" Target="../media/image14.jpe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130BAC82-9DB7-9CA7-748B-B6106F432A4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" y="4118011"/>
            <a:ext cx="12191990" cy="2464127"/>
          </a:xfrm>
          <a:prstGeom prst="rect">
            <a:avLst/>
          </a:prstGeom>
        </p:spPr>
      </p:pic>
      <p:pic>
        <p:nvPicPr>
          <p:cNvPr id="105" name="Picture 104">
            <a:extLst>
              <a:ext uri="{FF2B5EF4-FFF2-40B4-BE49-F238E27FC236}">
                <a16:creationId xmlns:a16="http://schemas.microsoft.com/office/drawing/2014/main" id="{8BE0A2D5-4897-AEFE-6F06-B6A2F82DFA4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485443" y="2396081"/>
            <a:ext cx="3937000" cy="3568700"/>
          </a:xfrm>
          <a:prstGeom prst="rect">
            <a:avLst/>
          </a:prstGeom>
        </p:spPr>
      </p:pic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46648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Rectangle 6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400" b="0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3" name="Rectangle 3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440238" y="1404737"/>
            <a:ext cx="7295501" cy="676275"/>
          </a:xfrm>
          <a:prstGeom prst="rect">
            <a:avLst/>
          </a:prstGeom>
        </p:spPr>
        <p:txBody>
          <a:bodyPr anchor="b">
            <a:normAutofit/>
          </a:bodyPr>
          <a:lstStyle>
            <a:lvl1pPr algn="r">
              <a:defRPr sz="280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noProof="0"/>
              <a:t>Title of presentation</a:t>
            </a:r>
            <a:endParaRPr lang="en-ZA" noProof="0"/>
          </a:p>
        </p:txBody>
      </p:sp>
      <p:sp>
        <p:nvSpPr>
          <p:cNvPr id="64" name="Rectangle 4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440238" y="2924226"/>
            <a:ext cx="7295501" cy="36512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FontTx/>
              <a:buNone/>
              <a:defRPr sz="2000" b="1">
                <a:solidFill>
                  <a:srgbClr val="83725B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 noProof="0"/>
              <a:t>Presented by:</a:t>
            </a:r>
            <a:endParaRPr lang="en-ZA" noProof="0"/>
          </a:p>
        </p:txBody>
      </p:sp>
      <p:sp>
        <p:nvSpPr>
          <p:cNvPr id="69" name="Text Placeholder 68">
            <a:extLst>
              <a:ext uri="{FF2B5EF4-FFF2-40B4-BE49-F238E27FC236}">
                <a16:creationId xmlns:a16="http://schemas.microsoft.com/office/drawing/2014/main" id="{FC9B13AD-CB38-ECF0-A13D-FF807AEA766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39589" y="3527025"/>
            <a:ext cx="7296150" cy="3270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>
                <a:solidFill>
                  <a:schemeClr val="bg1"/>
                </a:solidFill>
              </a:defRPr>
            </a:lvl1pPr>
            <a:lvl2pPr algn="r">
              <a:defRPr>
                <a:solidFill>
                  <a:schemeClr val="bg1"/>
                </a:solidFill>
              </a:defRPr>
            </a:lvl2pPr>
            <a:lvl3pPr algn="r"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Date:</a:t>
            </a:r>
            <a:endParaRPr lang="en-US"/>
          </a:p>
        </p:txBody>
      </p:sp>
      <p:pic>
        <p:nvPicPr>
          <p:cNvPr id="82" name="Picture 81">
            <a:extLst>
              <a:ext uri="{FF2B5EF4-FFF2-40B4-BE49-F238E27FC236}">
                <a16:creationId xmlns:a16="http://schemas.microsoft.com/office/drawing/2014/main" id="{5751479E-E24F-097C-9992-2F6EDD86852A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4413" y="4219860"/>
            <a:ext cx="2260600" cy="2044700"/>
          </a:xfrm>
          <a:prstGeom prst="rect">
            <a:avLst/>
          </a:prstGeom>
        </p:spPr>
      </p:pic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1669C941-D846-CAA6-9EF5-7B15E34B195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quarter" idx="15" hasCustomPrompt="1"/>
          </p:nvPr>
        </p:nvSpPr>
        <p:spPr>
          <a:xfrm>
            <a:off x="1000524" y="2500271"/>
            <a:ext cx="3294850" cy="3360318"/>
          </a:xfrm>
          <a:custGeom>
            <a:avLst/>
            <a:gdLst>
              <a:gd name="connsiteX0" fmla="*/ 1647425 w 3294850"/>
              <a:gd name="connsiteY0" fmla="*/ 0 h 3360318"/>
              <a:gd name="connsiteX1" fmla="*/ 3294850 w 3294850"/>
              <a:gd name="connsiteY1" fmla="*/ 1680159 h 3360318"/>
              <a:gd name="connsiteX2" fmla="*/ 1647425 w 3294850"/>
              <a:gd name="connsiteY2" fmla="*/ 3360318 h 3360318"/>
              <a:gd name="connsiteX3" fmla="*/ 1157531 w 3294850"/>
              <a:gd name="connsiteY3" fmla="*/ 3284782 h 3360318"/>
              <a:gd name="connsiteX4" fmla="*/ 1121439 w 3294850"/>
              <a:gd name="connsiteY4" fmla="*/ 3271309 h 3360318"/>
              <a:gd name="connsiteX5" fmla="*/ 1123633 w 3294850"/>
              <a:gd name="connsiteY5" fmla="*/ 3268653 h 3360318"/>
              <a:gd name="connsiteX6" fmla="*/ 1285660 w 3294850"/>
              <a:gd name="connsiteY6" fmla="*/ 2738764 h 3360318"/>
              <a:gd name="connsiteX7" fmla="*/ 336937 w 3294850"/>
              <a:gd name="connsiteY7" fmla="*/ 1791026 h 3360318"/>
              <a:gd name="connsiteX8" fmla="*/ 54816 w 3294850"/>
              <a:gd name="connsiteY8" fmla="*/ 1833635 h 3360318"/>
              <a:gd name="connsiteX9" fmla="*/ 8438 w 3294850"/>
              <a:gd name="connsiteY9" fmla="*/ 1850592 h 3360318"/>
              <a:gd name="connsiteX10" fmla="*/ 0 w 3294850"/>
              <a:gd name="connsiteY10" fmla="*/ 1680159 h 3360318"/>
              <a:gd name="connsiteX11" fmla="*/ 1647425 w 3294850"/>
              <a:gd name="connsiteY11" fmla="*/ 0 h 33603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294850" h="3360318">
                <a:moveTo>
                  <a:pt x="1647425" y="0"/>
                </a:moveTo>
                <a:cubicBezTo>
                  <a:pt x="2557273" y="0"/>
                  <a:pt x="3294850" y="752233"/>
                  <a:pt x="3294850" y="1680159"/>
                </a:cubicBezTo>
                <a:cubicBezTo>
                  <a:pt x="3294850" y="2608085"/>
                  <a:pt x="2557273" y="3360318"/>
                  <a:pt x="1647425" y="3360318"/>
                </a:cubicBezTo>
                <a:cubicBezTo>
                  <a:pt x="1476829" y="3360318"/>
                  <a:pt x="1312289" y="3333873"/>
                  <a:pt x="1157531" y="3284782"/>
                </a:cubicBezTo>
                <a:lnTo>
                  <a:pt x="1121439" y="3271309"/>
                </a:lnTo>
                <a:lnTo>
                  <a:pt x="1123633" y="3268653"/>
                </a:lnTo>
                <a:cubicBezTo>
                  <a:pt x="1225929" y="3117394"/>
                  <a:pt x="1285660" y="2935047"/>
                  <a:pt x="1285660" y="2738764"/>
                </a:cubicBezTo>
                <a:cubicBezTo>
                  <a:pt x="1285660" y="2215343"/>
                  <a:pt x="860902" y="1791026"/>
                  <a:pt x="336937" y="1791026"/>
                </a:cubicBezTo>
                <a:cubicBezTo>
                  <a:pt x="238694" y="1791026"/>
                  <a:pt x="143938" y="1805944"/>
                  <a:pt x="54816" y="1833635"/>
                </a:cubicBezTo>
                <a:lnTo>
                  <a:pt x="8438" y="1850592"/>
                </a:lnTo>
                <a:lnTo>
                  <a:pt x="0" y="1680159"/>
                </a:lnTo>
                <a:cubicBezTo>
                  <a:pt x="0" y="752233"/>
                  <a:pt x="737577" y="0"/>
                  <a:pt x="1647425" y="0"/>
                </a:cubicBezTo>
                <a:close/>
              </a:path>
            </a:pathLst>
          </a:custGeom>
          <a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solidFill>
              <a:schemeClr val="bg1"/>
            </a:solidFill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00">
                <a:solidFill>
                  <a:schemeClr val="bg1"/>
                </a:solidFill>
              </a:defRPr>
            </a:lvl1pPr>
            <a:lvl2pPr marL="457200" indent="0">
              <a:buNone/>
              <a:defRPr sz="3000">
                <a:solidFill>
                  <a:schemeClr val="bg1"/>
                </a:solidFill>
              </a:defRPr>
            </a:lvl2pPr>
            <a:lvl3pPr marL="914400" indent="0">
              <a:buNone/>
              <a:defRPr sz="3000">
                <a:solidFill>
                  <a:schemeClr val="bg1"/>
                </a:solidFill>
              </a:defRPr>
            </a:lvl3pPr>
            <a:lvl4pPr marL="1371600" indent="0">
              <a:buNone/>
              <a:defRPr sz="3000">
                <a:solidFill>
                  <a:schemeClr val="bg1"/>
                </a:solidFill>
              </a:defRPr>
            </a:lvl4pPr>
            <a:lvl5pPr marL="1828800" indent="0">
              <a:buNone/>
              <a:defRPr sz="30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A.dd</a:t>
            </a:r>
            <a:br>
              <a:rPr lang="en-GB"/>
            </a:br>
            <a:r>
              <a:rPr lang="en-GB"/>
              <a:t>text</a:t>
            </a:r>
            <a:endParaRPr lang="en-US"/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69B1B5BA-3EE2-ED8A-DA67-E8E259990A5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quarter" idx="16" hasCustomPrompt="1"/>
          </p:nvPr>
        </p:nvSpPr>
        <p:spPr>
          <a:xfrm>
            <a:off x="369084" y="4283752"/>
            <a:ext cx="1916916" cy="1916915"/>
          </a:xfrm>
          <a:prstGeom prst="ellipse">
            <a:avLst/>
          </a:prstGeom>
          <a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solidFill>
              <a:schemeClr val="bg1"/>
            </a:solidFill>
          </a:ln>
        </p:spPr>
        <p:txBody>
          <a:bodyPr anchor="ctr"/>
          <a:lstStyle>
            <a:lvl1pPr marL="0" indent="0" algn="ctr">
              <a:buNone/>
              <a:defRPr sz="1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bg1"/>
                </a:solidFill>
              </a:defRPr>
            </a:lvl2pPr>
            <a:lvl3pPr marL="914400" indent="0" algn="ctr"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Add </a:t>
            </a:r>
            <a:br>
              <a:rPr lang="en-GB"/>
            </a:br>
            <a:r>
              <a:rPr lang="en-GB" err="1"/>
              <a:t>te.xt</a:t>
            </a:r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0634911-A5D7-8BE2-2352-7421B9E94B8F}"/>
              </a:ext>
            </a:extLst>
          </p:cNvPr>
          <p:cNvSpPr/>
          <p:nvPr userDrawn="1"/>
        </p:nvSpPr>
        <p:spPr>
          <a:xfrm>
            <a:off x="0" y="6574096"/>
            <a:ext cx="12192000" cy="90014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64023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s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C70AA778-541B-E885-5A78-44A4C7F4B690}"/>
              </a:ext>
            </a:extLst>
          </p:cNvPr>
          <p:cNvSpPr/>
          <p:nvPr userDrawn="1"/>
        </p:nvSpPr>
        <p:spPr>
          <a:xfrm>
            <a:off x="0" y="4142874"/>
            <a:ext cx="12192000" cy="2466974"/>
          </a:xfrm>
          <a:prstGeom prst="rect">
            <a:avLst/>
          </a:prstGeom>
          <a:solidFill>
            <a:schemeClr val="bg2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06027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1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Rectangle 3">
            <a:extLst>
              <a:ext uri="{FF2B5EF4-FFF2-40B4-BE49-F238E27FC236}">
                <a16:creationId xmlns:a16="http://schemas.microsoft.com/office/drawing/2014/main" id="{CDD01BF2-A391-2350-F502-B39704CC06F8}"/>
              </a:ext>
            </a:extLst>
          </p:cNvPr>
          <p:cNvSpPr>
            <a:spLocks noGrp="1" noChangeArrowheads="1"/>
          </p:cNvSpPr>
          <p:nvPr>
            <p:ph type="ctrTitle" hasCustomPrompt="1"/>
          </p:nvPr>
        </p:nvSpPr>
        <p:spPr>
          <a:xfrm>
            <a:off x="706438" y="2241800"/>
            <a:ext cx="6343001" cy="676275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280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noProof="0"/>
              <a:t>Divider Slide</a:t>
            </a:r>
            <a:endParaRPr lang="en-ZA" noProof="0"/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53E77A3B-B320-4C09-0FDF-7F1B0E81B64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4142874"/>
            <a:ext cx="12192000" cy="2451601"/>
          </a:xfrm>
          <a:prstGeom prst="rect">
            <a:avLst/>
          </a:prstGeom>
          <a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anchor="ctr"/>
          <a:lstStyle>
            <a:lvl1pPr marL="0" indent="0" algn="ctr">
              <a:buNone/>
              <a:defRPr sz="100">
                <a:solidFill>
                  <a:schemeClr val="bg1"/>
                </a:solidFill>
              </a:defRPr>
            </a:lvl1pPr>
          </a:lstStyle>
          <a:p>
            <a:r>
              <a:rPr lang="en-US"/>
              <a:t>.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EA9F132-5B21-E13F-3DD4-5A76269137FE}"/>
              </a:ext>
            </a:extLst>
          </p:cNvPr>
          <p:cNvSpPr/>
          <p:nvPr userDrawn="1"/>
        </p:nvSpPr>
        <p:spPr>
          <a:xfrm>
            <a:off x="0" y="6574096"/>
            <a:ext cx="12192000" cy="90014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25663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pter divs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C70AA778-541B-E885-5A78-44A4C7F4B690}"/>
              </a:ext>
            </a:extLst>
          </p:cNvPr>
          <p:cNvSpPr/>
          <p:nvPr userDrawn="1"/>
        </p:nvSpPr>
        <p:spPr>
          <a:xfrm>
            <a:off x="0" y="4142874"/>
            <a:ext cx="12192000" cy="2466974"/>
          </a:xfrm>
          <a:prstGeom prst="rect">
            <a:avLst/>
          </a:prstGeom>
          <a:solidFill>
            <a:schemeClr val="bg2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F447FC08-0CA1-C812-957B-303369CEC0B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4142874"/>
            <a:ext cx="4114800" cy="2451601"/>
          </a:xfrm>
          <a:prstGeom prst="rect">
            <a:avLst/>
          </a:prstGeo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anchor="ctr"/>
          <a:lstStyle>
            <a:lvl1pPr marL="0" indent="0" algn="ctr">
              <a:buNone/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/>
              <a:t>.</a:t>
            </a:r>
          </a:p>
        </p:txBody>
      </p:sp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06027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1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Rectangle 3">
            <a:extLst>
              <a:ext uri="{FF2B5EF4-FFF2-40B4-BE49-F238E27FC236}">
                <a16:creationId xmlns:a16="http://schemas.microsoft.com/office/drawing/2014/main" id="{CDD01BF2-A391-2350-F502-B39704CC06F8}"/>
              </a:ext>
            </a:extLst>
          </p:cNvPr>
          <p:cNvSpPr>
            <a:spLocks noGrp="1" noChangeArrowheads="1"/>
          </p:cNvSpPr>
          <p:nvPr>
            <p:ph type="ctrTitle" hasCustomPrompt="1"/>
          </p:nvPr>
        </p:nvSpPr>
        <p:spPr>
          <a:xfrm>
            <a:off x="706438" y="2241800"/>
            <a:ext cx="6343001" cy="676275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280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noProof="0"/>
              <a:t>Divider Slide</a:t>
            </a:r>
            <a:endParaRPr lang="en-ZA" noProof="0"/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DBBB6FBC-E3C9-3B31-3EF0-38D626E1E1D4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114800" y="4142874"/>
            <a:ext cx="4114800" cy="2451601"/>
          </a:xfrm>
          <a:prstGeom prst="rect">
            <a:avLst/>
          </a:prstGeom>
          <a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anchor="ctr"/>
          <a:lstStyle>
            <a:lvl1pPr marL="0" indent="0" algn="ctr">
              <a:buNone/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/>
              <a:t>Insert </a:t>
            </a:r>
            <a:br>
              <a:rPr lang="en-US"/>
            </a:br>
            <a:r>
              <a:rPr lang="en-US"/>
              <a:t>visual</a:t>
            </a:r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5AF0A9FC-BFA5-B482-1275-4088CD88289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229600" y="4142874"/>
            <a:ext cx="3962400" cy="2451601"/>
          </a:xfrm>
          <a:prstGeom prst="rect">
            <a:avLst/>
          </a:prstGeom>
          <a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anchor="ctr"/>
          <a:lstStyle>
            <a:lvl1pPr marL="0" indent="0" algn="ctr">
              <a:buNone/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/>
              <a:t>Insert </a:t>
            </a:r>
            <a:br>
              <a:rPr lang="en-US"/>
            </a:br>
            <a:r>
              <a:rPr lang="en-US"/>
              <a:t>visua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37B8CCE-72D0-1BBF-D066-4AF8ED0D6F84}"/>
              </a:ext>
            </a:extLst>
          </p:cNvPr>
          <p:cNvSpPr/>
          <p:nvPr userDrawn="1"/>
        </p:nvSpPr>
        <p:spPr>
          <a:xfrm>
            <a:off x="0" y="6574096"/>
            <a:ext cx="12192000" cy="90014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528717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clusion Chapter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46648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Rectangle 6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400" b="0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3" name="Rectangle 3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5392738" y="2867097"/>
            <a:ext cx="6343001" cy="676275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280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noProof="0"/>
              <a:t>Divider Slide</a:t>
            </a:r>
            <a:endParaRPr lang="en-ZA" noProof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9736D61-2B9F-B39D-FA43-E377D86AA7B3}"/>
              </a:ext>
            </a:extLst>
          </p:cNvPr>
          <p:cNvSpPr/>
          <p:nvPr userDrawn="1"/>
        </p:nvSpPr>
        <p:spPr>
          <a:xfrm>
            <a:off x="0" y="6593974"/>
            <a:ext cx="12192000" cy="264026"/>
          </a:xfrm>
          <a:prstGeom prst="rect">
            <a:avLst/>
          </a:prstGeom>
          <a:solidFill>
            <a:schemeClr val="tx2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535C61B-929A-C0EC-5C58-CD9ED99EF73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47291" y="1468981"/>
            <a:ext cx="3937000" cy="35687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3E8E6140-30DC-D3CB-A911-288044C11DAB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456261" y="3292760"/>
            <a:ext cx="2260600" cy="2044700"/>
          </a:xfrm>
          <a:prstGeom prst="rect">
            <a:avLst/>
          </a:prstGeom>
        </p:spPr>
      </p:pic>
      <p:sp>
        <p:nvSpPr>
          <p:cNvPr id="4" name="Picture Placeholder 101">
            <a:extLst>
              <a:ext uri="{FF2B5EF4-FFF2-40B4-BE49-F238E27FC236}">
                <a16:creationId xmlns:a16="http://schemas.microsoft.com/office/drawing/2014/main" id="{F5F2CF35-ACC4-A108-DD87-92F9426534E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pic" sz="quarter" idx="14" hasCustomPrompt="1"/>
          </p:nvPr>
        </p:nvSpPr>
        <p:spPr>
          <a:xfrm>
            <a:off x="749197" y="3364197"/>
            <a:ext cx="1895476" cy="1895476"/>
          </a:xfrm>
          <a:prstGeom prst="ellipse">
            <a:avLst/>
          </a:prstGeom>
          <a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solidFill>
              <a:schemeClr val="bg1"/>
            </a:solidFill>
          </a:ln>
        </p:spPr>
        <p:txBody>
          <a:bodyPr anchor="ctr"/>
          <a:lstStyle>
            <a:lvl1pPr marL="0" indent="0" algn="ctr">
              <a:buNone/>
              <a:defRPr sz="100">
                <a:solidFill>
                  <a:schemeClr val="bg1"/>
                </a:solidFill>
              </a:defRPr>
            </a:lvl1pPr>
          </a:lstStyle>
          <a:p>
            <a:r>
              <a:rPr lang="en-US"/>
              <a:t>.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F87BD48D-91A6-B706-71D6-9D1F3017065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pic" sz="quarter" idx="13" hasCustomPrompt="1"/>
          </p:nvPr>
        </p:nvSpPr>
        <p:spPr>
          <a:xfrm>
            <a:off x="1343198" y="1600672"/>
            <a:ext cx="3294850" cy="3294850"/>
          </a:xfrm>
          <a:custGeom>
            <a:avLst/>
            <a:gdLst>
              <a:gd name="connsiteX0" fmla="*/ 1647425 w 3294850"/>
              <a:gd name="connsiteY0" fmla="*/ 0 h 3294850"/>
              <a:gd name="connsiteX1" fmla="*/ 3294850 w 3294850"/>
              <a:gd name="connsiteY1" fmla="*/ 1647425 h 3294850"/>
              <a:gd name="connsiteX2" fmla="*/ 1647425 w 3294850"/>
              <a:gd name="connsiteY2" fmla="*/ 3294850 h 3294850"/>
              <a:gd name="connsiteX3" fmla="*/ 1275376 w 3294850"/>
              <a:gd name="connsiteY3" fmla="*/ 3252665 h 3294850"/>
              <a:gd name="connsiteX4" fmla="*/ 1215764 w 3294850"/>
              <a:gd name="connsiteY4" fmla="*/ 3236539 h 3294850"/>
              <a:gd name="connsiteX5" fmla="*/ 1240067 w 3294850"/>
              <a:gd name="connsiteY5" fmla="*/ 3196535 h 3294850"/>
              <a:gd name="connsiteX6" fmla="*/ 1362162 w 3294850"/>
              <a:gd name="connsiteY6" fmla="*/ 2714346 h 3294850"/>
              <a:gd name="connsiteX7" fmla="*/ 350562 w 3294850"/>
              <a:gd name="connsiteY7" fmla="*/ 1702746 h 3294850"/>
              <a:gd name="connsiteX8" fmla="*/ 49743 w 3294850"/>
              <a:gd name="connsiteY8" fmla="*/ 1748226 h 3294850"/>
              <a:gd name="connsiteX9" fmla="*/ 5901 w 3294850"/>
              <a:gd name="connsiteY9" fmla="*/ 1764272 h 3294850"/>
              <a:gd name="connsiteX10" fmla="*/ 0 w 3294850"/>
              <a:gd name="connsiteY10" fmla="*/ 1647425 h 3294850"/>
              <a:gd name="connsiteX11" fmla="*/ 1647425 w 3294850"/>
              <a:gd name="connsiteY11" fmla="*/ 0 h 3294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294850" h="3294850">
                <a:moveTo>
                  <a:pt x="1647425" y="0"/>
                </a:moveTo>
                <a:cubicBezTo>
                  <a:pt x="2557273" y="0"/>
                  <a:pt x="3294850" y="737577"/>
                  <a:pt x="3294850" y="1647425"/>
                </a:cubicBezTo>
                <a:cubicBezTo>
                  <a:pt x="3294850" y="2557273"/>
                  <a:pt x="2557273" y="3294850"/>
                  <a:pt x="1647425" y="3294850"/>
                </a:cubicBezTo>
                <a:cubicBezTo>
                  <a:pt x="1519478" y="3294850"/>
                  <a:pt x="1394938" y="3280265"/>
                  <a:pt x="1275376" y="3252665"/>
                </a:cubicBezTo>
                <a:lnTo>
                  <a:pt x="1215764" y="3236539"/>
                </a:lnTo>
                <a:lnTo>
                  <a:pt x="1240067" y="3196535"/>
                </a:lnTo>
                <a:cubicBezTo>
                  <a:pt x="1317933" y="3053198"/>
                  <a:pt x="1362162" y="2888937"/>
                  <a:pt x="1362162" y="2714346"/>
                </a:cubicBezTo>
                <a:cubicBezTo>
                  <a:pt x="1362162" y="2155655"/>
                  <a:pt x="909253" y="1702746"/>
                  <a:pt x="350562" y="1702746"/>
                </a:cubicBezTo>
                <a:cubicBezTo>
                  <a:pt x="245808" y="1702746"/>
                  <a:pt x="144772" y="1718669"/>
                  <a:pt x="49743" y="1748226"/>
                </a:cubicBezTo>
                <a:lnTo>
                  <a:pt x="5901" y="1764272"/>
                </a:lnTo>
                <a:lnTo>
                  <a:pt x="0" y="1647425"/>
                </a:lnTo>
                <a:cubicBezTo>
                  <a:pt x="0" y="737577"/>
                  <a:pt x="737577" y="0"/>
                  <a:pt x="1647425" y="0"/>
                </a:cubicBezTo>
                <a:close/>
              </a:path>
            </a:pathLst>
          </a:custGeom>
          <a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solidFill>
              <a:schemeClr val="bg1"/>
            </a:solidFill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00">
                <a:solidFill>
                  <a:schemeClr val="bg1"/>
                </a:solidFill>
              </a:defRPr>
            </a:lvl1pPr>
          </a:lstStyle>
          <a:p>
            <a:br>
              <a:rPr lang="en-US"/>
            </a:br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0824138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Section header box">
    <p:bg bwMode="grayWhite">
      <p:bgPr>
        <a:gradFill rotWithShape="0">
          <a:gsLst>
            <a:gs pos="0">
              <a:srgbClr val="0A417E"/>
            </a:gs>
            <a:gs pos="100000">
              <a:srgbClr val="07305E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F2B0F623-B5AD-4BF4-89FA-214199E39A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F2B0F623-B5AD-4BF4-89FA-214199E39A0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opyright" hidden="1">
            <a:extLst>
              <a:ext uri="{FF2B5EF4-FFF2-40B4-BE49-F238E27FC236}">
                <a16:creationId xmlns:a16="http://schemas.microsoft.com/office/drawing/2014/main" id="{3D4BEEA7-B552-4BB3-83FC-13A24F4E1D1B}"/>
              </a:ext>
            </a:extLst>
          </p:cNvPr>
          <p:cNvSpPr txBox="1"/>
          <p:nvPr userDrawn="1"/>
        </p:nvSpPr>
        <p:spPr>
          <a:xfrm rot="16200000">
            <a:off x="9449331" y="3924139"/>
            <a:ext cx="5133975" cy="92398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571"/>
              </a:spcAft>
              <a:defRPr/>
            </a:pPr>
            <a:r>
              <a:rPr lang="en-US" sz="667" dirty="0">
                <a:solidFill>
                  <a:srgbClr val="FFFFFF"/>
                </a:solidFill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6" name="FooterSimple" hidden="1">
            <a:extLst>
              <a:ext uri="{FF2B5EF4-FFF2-40B4-BE49-F238E27FC236}">
                <a16:creationId xmlns:a16="http://schemas.microsoft.com/office/drawing/2014/main" id="{FC3AA51B-AB63-4F4C-9AD7-2BE39902C29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 rot="16200000">
            <a:off x="10490201" y="5119527"/>
            <a:ext cx="2743200" cy="92398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571"/>
              </a:spcAft>
              <a:defRPr/>
            </a:pPr>
            <a:r>
              <a:rPr lang="en-US" sz="667" dirty="0">
                <a:solidFill>
                  <a:srgbClr val="FFFFFF"/>
                </a:solidFill>
                <a:sym typeface="Arial" panose="020B0604020202020204" pitchFamily="34" charset="0"/>
              </a:rPr>
              <a:t>Presentation1.pptx</a:t>
            </a:r>
          </a:p>
        </p:txBody>
      </p:sp>
      <p:sp>
        <p:nvSpPr>
          <p:cNvPr id="7" name="Page">
            <a:extLst>
              <a:ext uri="{FF2B5EF4-FFF2-40B4-BE49-F238E27FC236}">
                <a16:creationId xmlns:a16="http://schemas.microsoft.com/office/drawing/2014/main" id="{883D5B70-C1A0-4F68-8048-43BD697E64F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0983386" y="6405566"/>
            <a:ext cx="393700" cy="153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8699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699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699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699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699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699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699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699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699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fld id="{D5B2CCF0-7F36-443E-811F-FD0A18E4236B}" type="slidenum">
              <a:rPr lang="en-US" altLang="en-US" sz="1000" smtClean="0">
                <a:solidFill>
                  <a:srgbClr val="FFFFFF"/>
                </a:solidFill>
                <a:sym typeface="Arial" panose="020B0604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White">
          <a:xfrm>
            <a:off x="502186" y="2668041"/>
            <a:ext cx="11187633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870693" rtl="0" eaLnBrk="1" fontAlgn="auto" latinLnBrk="0" hangingPunct="1">
              <a:lnSpc>
                <a:spcPts val="5713"/>
              </a:lnSpc>
              <a:spcBef>
                <a:spcPts val="0"/>
              </a:spcBef>
              <a:spcAft>
                <a:spcPts val="0"/>
              </a:spcAft>
              <a:defRPr lang="en-US" sz="2400" kern="1200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01A0BE01-C183-46BD-8A57-08DF0706DD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>
              <a:defRPr/>
            </a:pPr>
            <a:fld id="{6AA6D5AB-DEE1-42F6-9A82-DBE8100EB442}" type="datetime1">
              <a:rPr lang="en-ZA" smtClean="0"/>
              <a:t>2024/07/0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83960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5650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Rectangle 6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400" b="0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206292CE-35FA-6E16-4E5E-A68EE9A5D68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680" y="6356350"/>
            <a:ext cx="107914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ZA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8DDBAB9D-F630-EF72-1E01-F6D8D4E5B0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97802" y="6356350"/>
            <a:ext cx="34772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6B1497D-D85C-49F0-B0C9-9C5FED4EAE9E}" type="slidenum">
              <a:rPr lang="en-ZA" smtClean="0"/>
              <a:pPr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0569442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21923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4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33A6B3C0-BE11-BB1E-37B2-3F2CECBAC16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680" y="6356350"/>
            <a:ext cx="107914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ZA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9AA2B460-5729-C216-9BDA-BB746E74BCD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97802" y="6356350"/>
            <a:ext cx="34772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6B1497D-D85C-49F0-B0C9-9C5FED4EAE9E}" type="slidenum">
              <a:rPr lang="en-ZA" smtClean="0"/>
              <a:pPr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64193626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Section header box">
    <p:bg bwMode="grayWhite">
      <p:bgPr>
        <a:gradFill rotWithShape="0">
          <a:gsLst>
            <a:gs pos="0">
              <a:srgbClr val="0A417E"/>
            </a:gs>
            <a:gs pos="100000">
              <a:srgbClr val="07305E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F2B0F623-B5AD-4BF4-89FA-214199E39A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F2B0F623-B5AD-4BF4-89FA-214199E39A0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opyright" hidden="1">
            <a:extLst>
              <a:ext uri="{FF2B5EF4-FFF2-40B4-BE49-F238E27FC236}">
                <a16:creationId xmlns:a16="http://schemas.microsoft.com/office/drawing/2014/main" id="{3D4BEEA7-B552-4BB3-83FC-13A24F4E1D1B}"/>
              </a:ext>
            </a:extLst>
          </p:cNvPr>
          <p:cNvSpPr txBox="1"/>
          <p:nvPr userDrawn="1"/>
        </p:nvSpPr>
        <p:spPr>
          <a:xfrm rot="16200000">
            <a:off x="9449331" y="3924139"/>
            <a:ext cx="5133975" cy="92398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571"/>
              </a:spcAft>
              <a:defRPr/>
            </a:pPr>
            <a:r>
              <a:rPr lang="en-US" sz="667" dirty="0">
                <a:solidFill>
                  <a:srgbClr val="FFFFFF"/>
                </a:solidFill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6" name="FooterSimple" hidden="1">
            <a:extLst>
              <a:ext uri="{FF2B5EF4-FFF2-40B4-BE49-F238E27FC236}">
                <a16:creationId xmlns:a16="http://schemas.microsoft.com/office/drawing/2014/main" id="{FC3AA51B-AB63-4F4C-9AD7-2BE39902C29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 rot="16200000">
            <a:off x="10490201" y="5119527"/>
            <a:ext cx="2743200" cy="92398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571"/>
              </a:spcAft>
              <a:defRPr/>
            </a:pPr>
            <a:r>
              <a:rPr lang="en-US" sz="667" dirty="0">
                <a:solidFill>
                  <a:srgbClr val="FFFFFF"/>
                </a:solidFill>
                <a:sym typeface="Arial" panose="020B0604020202020204" pitchFamily="34" charset="0"/>
              </a:rPr>
              <a:t>Presentation1.pptx</a:t>
            </a:r>
          </a:p>
        </p:txBody>
      </p:sp>
      <p:sp>
        <p:nvSpPr>
          <p:cNvPr id="7" name="Page">
            <a:extLst>
              <a:ext uri="{FF2B5EF4-FFF2-40B4-BE49-F238E27FC236}">
                <a16:creationId xmlns:a16="http://schemas.microsoft.com/office/drawing/2014/main" id="{883D5B70-C1A0-4F68-8048-43BD697E64F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0983386" y="6405566"/>
            <a:ext cx="393700" cy="153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8699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699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699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699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699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699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699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699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699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fld id="{D5B2CCF0-7F36-443E-811F-FD0A18E4236B}" type="slidenum">
              <a:rPr lang="en-US" altLang="en-US" sz="1000" smtClean="0">
                <a:solidFill>
                  <a:srgbClr val="FFFFFF"/>
                </a:solidFill>
                <a:sym typeface="Arial" panose="020B0604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White">
          <a:xfrm>
            <a:off x="502186" y="2668041"/>
            <a:ext cx="11187633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870693" rtl="0" eaLnBrk="1" fontAlgn="auto" latinLnBrk="0" hangingPunct="1">
              <a:lnSpc>
                <a:spcPts val="5713"/>
              </a:lnSpc>
              <a:spcBef>
                <a:spcPts val="0"/>
              </a:spcBef>
              <a:spcAft>
                <a:spcPts val="0"/>
              </a:spcAft>
              <a:defRPr lang="en-US" sz="2400" kern="1200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01A0BE01-C183-46BD-8A57-08DF0706DD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>
              <a:defRPr/>
            </a:pPr>
            <a:fld id="{6AA6D5AB-DEE1-42F6-9A82-DBE8100EB442}" type="datetime1">
              <a:rPr lang="en-ZA" smtClean="0"/>
              <a:t>2024/07/0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95994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12" Type="http://schemas.openxmlformats.org/officeDocument/2006/relationships/image" Target="../media/image3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2.emf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8.xml"/><Relationship Id="rId7" Type="http://schemas.openxmlformats.org/officeDocument/2006/relationships/oleObject" Target="../embeddings/oleObject7.bin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tags" Target="../tags/tag15.xml"/><Relationship Id="rId5" Type="http://schemas.openxmlformats.org/officeDocument/2006/relationships/tags" Target="../tags/tag14.xml"/><Relationship Id="rId10" Type="http://schemas.openxmlformats.org/officeDocument/2006/relationships/image" Target="../media/image3.emf"/><Relationship Id="rId4" Type="http://schemas.openxmlformats.org/officeDocument/2006/relationships/theme" Target="../theme/theme2.xml"/><Relationship Id="rId9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2412971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1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61B89DF-EAC8-9D04-A4FE-29DE4D44D11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2CDCE3E3-9DDD-720F-B114-D73CEB41A5FD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0234592" y="544512"/>
            <a:ext cx="1422400" cy="36830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FBDB45C7-CE4D-C529-B1D9-402A7799F835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9829719" y="550086"/>
            <a:ext cx="241300" cy="368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0761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0" r:id="rId2"/>
    <p:sldLayoutId id="2147483657" r:id="rId3"/>
    <p:sldLayoutId id="2147483655" r:id="rId4"/>
    <p:sldLayoutId id="2147483659" r:id="rId5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1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bg1">
            <a:lumMod val="50000"/>
          </a:schemeClr>
        </a:buClr>
        <a:buFont typeface="Wingdings" panose="05000000000000000000" pitchFamily="2" charset="2"/>
        <a:buChar char="§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bg1">
            <a:lumMod val="50000"/>
          </a:schemeClr>
        </a:buClr>
        <a:buFont typeface="Calibri" panose="020F0502020204030204" pitchFamily="34" charset="0"/>
        <a:buChar char="-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bg1">
            <a:lumMod val="50000"/>
          </a:schemeClr>
        </a:buClr>
        <a:buFont typeface="Arial" panose="020B0604020202020204" pitchFamily="34" charset="0"/>
        <a:buChar char="•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bg1">
            <a:lumMod val="50000"/>
          </a:schemeClr>
        </a:buClr>
        <a:buFont typeface="Courier New" panose="02070309020205020404" pitchFamily="49" charset="0"/>
        <a:buChar char="o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bg1">
            <a:lumMod val="50000"/>
          </a:schemeClr>
        </a:buClr>
        <a:buFont typeface="Wingdings" panose="05000000000000000000" pitchFamily="2" charset="2"/>
        <a:buChar char="Ø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A7057F0-5F5E-786F-613E-0CBEA464107A}"/>
              </a:ext>
            </a:extLst>
          </p:cNvPr>
          <p:cNvSpPr/>
          <p:nvPr userDrawn="1"/>
        </p:nvSpPr>
        <p:spPr>
          <a:xfrm>
            <a:off x="0" y="0"/>
            <a:ext cx="12192000" cy="9906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2727672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4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1681" y="1223493"/>
            <a:ext cx="11383851" cy="48590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ZA"/>
              <a:t>Edit Master text styles</a:t>
            </a:r>
          </a:p>
          <a:p>
            <a:pPr lvl="1"/>
            <a:r>
              <a:rPr lang="en-ZA"/>
              <a:t>Second level</a:t>
            </a:r>
          </a:p>
          <a:p>
            <a:pPr lvl="2"/>
            <a:r>
              <a:rPr lang="en-ZA"/>
              <a:t>Third level</a:t>
            </a:r>
          </a:p>
          <a:p>
            <a:pPr lvl="3"/>
            <a:r>
              <a:rPr lang="en-ZA"/>
              <a:t>Fourth level</a:t>
            </a:r>
          </a:p>
          <a:p>
            <a:pPr lvl="4"/>
            <a:r>
              <a:rPr lang="en-ZA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1680" y="6356350"/>
            <a:ext cx="107914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Z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97802" y="6356350"/>
            <a:ext cx="34772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6B1497D-D85C-49F0-B0C9-9C5FED4EAE9E}" type="slidenum">
              <a:rPr lang="en-ZA" smtClean="0"/>
              <a:pPr/>
              <a:t>‹#›</a:t>
            </a:fld>
            <a:endParaRPr lang="en-ZA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61681" y="205769"/>
            <a:ext cx="9511777" cy="666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noProof="0"/>
              <a:t>Click to edit Master title style</a:t>
            </a:r>
            <a:endParaRPr lang="en-ZA" noProof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A1EFD3B-809C-B8A0-4D86-16532E5E7488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10441904" y="312737"/>
            <a:ext cx="1422400" cy="3683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39A3506A-6DD2-E9D5-DD05-B23171DA1339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10037031" y="318311"/>
            <a:ext cx="241300" cy="3683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B56DB893-999D-78A5-DBD6-5B38A7382F94}"/>
              </a:ext>
            </a:extLst>
          </p:cNvPr>
          <p:cNvSpPr/>
          <p:nvPr userDrawn="1"/>
        </p:nvSpPr>
        <p:spPr>
          <a:xfrm>
            <a:off x="0" y="6176963"/>
            <a:ext cx="12192000" cy="45719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48610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654" r:id="rId2"/>
    <p:sldLayoutId id="2147483658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Wingdings" panose="05000000000000000000" pitchFamily="2" charset="2"/>
        <a:buChar char="§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1D3E88"/>
        </a:buClr>
        <a:buFont typeface="Calibri" panose="020F0502020204030204" pitchFamily="34" charset="0"/>
        <a:buChar char="-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Ø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175107-8CA2-D694-3AC7-A89E813965D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Pre-transfer list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934E5FC-31B2-4F90-9C9D-A14D2BD4225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</p:sp>
    </p:spTree>
    <p:extLst>
      <p:ext uri="{BB962C8B-B14F-4D97-AF65-F5344CB8AC3E}">
        <p14:creationId xmlns:p14="http://schemas.microsoft.com/office/powerpoint/2010/main" val="85939388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0C494C-A5BA-0457-2305-5DB15AEE5D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Changes to Physical Archtecture Design </a:t>
            </a:r>
            <a:r>
              <a:rPr lang="en-ZA"/>
              <a:t>(if any)</a:t>
            </a:r>
            <a:endParaRPr lang="en-ZA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423A471-F2D8-A149-D3CA-9941BC85DFA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40195898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97E7BD-82A0-D153-6E34-C295CBB286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Pre-transfer</a:t>
            </a:r>
          </a:p>
        </p:txBody>
      </p:sp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2AAD81BB-33B7-8DA2-5540-6C1C221B0AFC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361140197"/>
              </p:ext>
            </p:extLst>
          </p:nvPr>
        </p:nvGraphicFramePr>
        <p:xfrm>
          <a:off x="361681" y="1305560"/>
          <a:ext cx="11383960" cy="4246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52450">
                  <a:extLst>
                    <a:ext uri="{9D8B030D-6E8A-4147-A177-3AD203B41FA5}">
                      <a16:colId xmlns:a16="http://schemas.microsoft.com/office/drawing/2014/main" val="2537587488"/>
                    </a:ext>
                  </a:extLst>
                </a:gridCol>
                <a:gridCol w="3567289">
                  <a:extLst>
                    <a:ext uri="{9D8B030D-6E8A-4147-A177-3AD203B41FA5}">
                      <a16:colId xmlns:a16="http://schemas.microsoft.com/office/drawing/2014/main" val="24463634"/>
                    </a:ext>
                  </a:extLst>
                </a:gridCol>
                <a:gridCol w="2223911">
                  <a:extLst>
                    <a:ext uri="{9D8B030D-6E8A-4147-A177-3AD203B41FA5}">
                      <a16:colId xmlns:a16="http://schemas.microsoft.com/office/drawing/2014/main" val="2950112839"/>
                    </a:ext>
                  </a:extLst>
                </a:gridCol>
                <a:gridCol w="5040310">
                  <a:extLst>
                    <a:ext uri="{9D8B030D-6E8A-4147-A177-3AD203B41FA5}">
                      <a16:colId xmlns:a16="http://schemas.microsoft.com/office/drawing/2014/main" val="136603449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/>
                        <a:t>Go-live Activi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/>
                        <a:t>Statu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/>
                        <a:t>Comment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5171564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ZA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/>
                        <a:t>Application Functional Testing (SIT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15508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ZA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/>
                        <a:t>Performance Test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423253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ZA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/>
                        <a:t>User Acceptance Testing Sign-off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0175172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ZA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/>
                        <a:t>User Train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341358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ZA" dirty="0"/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/>
                        <a:t>Security Vulnerability Tes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4182272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ZA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/>
                        <a:t>Penetration Tes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8516922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ZA" dirty="0"/>
                        <a:t>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/>
                        <a:t>CRMCC (Change Control Release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230730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ZA" dirty="0"/>
                        <a:t>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/>
                        <a:t>CIO Go/No Go Sess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17739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ZA" dirty="0"/>
                        <a:t>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/>
                        <a:t>Updated PA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2380165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382060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PUJZfVS7.d8Aqx0sFn4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z9s1FQRQK70D8H52w3U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PUJZfVS7.d8Aqx0sFn4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J7c7QzT92Xgk69G6qK3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z9s1FQRQK70D8H52w3U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PUJZfVS7.d8Aqx0sFn4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J7c7QzT92Xgk69G6qK3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J7c7QzT92Xgk69G6qK3A"/>
</p:tagLst>
</file>

<file path=ppt/theme/theme1.xml><?xml version="1.0" encoding="utf-8"?>
<a:theme xmlns:a="http://schemas.openxmlformats.org/drawingml/2006/main" name="Office Theme">
  <a:themeElements>
    <a:clrScheme name="Eskom Wide">
      <a:dk1>
        <a:srgbClr val="003896"/>
      </a:dk1>
      <a:lt1>
        <a:srgbClr val="FFFFFF"/>
      </a:lt1>
      <a:dk2>
        <a:srgbClr val="83725B"/>
      </a:dk2>
      <a:lt2>
        <a:srgbClr val="DDDDDD"/>
      </a:lt2>
      <a:accent1>
        <a:srgbClr val="003896"/>
      </a:accent1>
      <a:accent2>
        <a:srgbClr val="9B6D56"/>
      </a:accent2>
      <a:accent3>
        <a:srgbClr val="96330F"/>
      </a:accent3>
      <a:accent4>
        <a:srgbClr val="C97A00"/>
      </a:accent4>
      <a:accent5>
        <a:srgbClr val="598787"/>
      </a:accent5>
      <a:accent6>
        <a:srgbClr val="858705"/>
      </a:accent6>
      <a:hlink>
        <a:srgbClr val="83725B"/>
      </a:hlink>
      <a:folHlink>
        <a:srgbClr val="C97A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285750" indent="-285750">
          <a:buClr>
            <a:schemeClr val="bg1">
              <a:lumMod val="50000"/>
            </a:schemeClr>
          </a:buClr>
          <a:buFont typeface="Wingdings" panose="05000000000000000000" pitchFamily="2" charset="2"/>
          <a:buChar char="§"/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skom Widescreen_Without Visuals" id="{A8DDC17B-1581-4D7F-8C14-7723306C0474}" vid="{AABB89EC-0ED7-46E8-A361-2FD02679C18D}"/>
    </a:ext>
  </a:extLst>
</a:theme>
</file>

<file path=ppt/theme/theme2.xml><?xml version="1.0" encoding="utf-8"?>
<a:theme xmlns:a="http://schemas.openxmlformats.org/drawingml/2006/main" name="Content Slide Master">
  <a:themeElements>
    <a:clrScheme name="Eskom">
      <a:dk1>
        <a:srgbClr val="003896"/>
      </a:dk1>
      <a:lt1>
        <a:srgbClr val="FFFFFF"/>
      </a:lt1>
      <a:dk2>
        <a:srgbClr val="83725B"/>
      </a:dk2>
      <a:lt2>
        <a:srgbClr val="DDDDDD"/>
      </a:lt2>
      <a:accent1>
        <a:srgbClr val="003896"/>
      </a:accent1>
      <a:accent2>
        <a:srgbClr val="9B6D56"/>
      </a:accent2>
      <a:accent3>
        <a:srgbClr val="96330F"/>
      </a:accent3>
      <a:accent4>
        <a:srgbClr val="C97A00"/>
      </a:accent4>
      <a:accent5>
        <a:srgbClr val="598787"/>
      </a:accent5>
      <a:accent6>
        <a:srgbClr val="0DAF2B"/>
      </a:accent6>
      <a:hlink>
        <a:srgbClr val="83725B"/>
      </a:hlink>
      <a:folHlink>
        <a:srgbClr val="C97A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285750" indent="-285750">
          <a:buClr>
            <a:schemeClr val="bg1">
              <a:lumMod val="50000"/>
            </a:schemeClr>
          </a:buClr>
          <a:buFont typeface="Wingdings" panose="05000000000000000000" pitchFamily="2" charset="2"/>
          <a:buChar char="§"/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1E5B683E-D731-44A3-995F-FBDD736D6143}" vid="{6AEA1211-FEE5-49DA-A65B-5350B454C766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A4129E15EC9D445948A7BAAD5AC6DBA" ma:contentTypeVersion="3" ma:contentTypeDescription="Create a new document." ma:contentTypeScope="" ma:versionID="53a7ca392f8d069533e88ba1356d3ff7">
  <xsd:schema xmlns:xsd="http://www.w3.org/2001/XMLSchema" xmlns:xs="http://www.w3.org/2001/XMLSchema" xmlns:p="http://schemas.microsoft.com/office/2006/metadata/properties" xmlns:ns2="e133fe83-7fd1-404f-b978-636ee1ef673f" targetNamespace="http://schemas.microsoft.com/office/2006/metadata/properties" ma:root="true" ma:fieldsID="7de868c343cf095ed854ce91452a7e5f" ns2:_="">
    <xsd:import namespace="e133fe83-7fd1-404f-b978-636ee1ef673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133fe83-7fd1-404f-b978-636ee1ef673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90325F2-1199-4A7E-B87D-734C0A3EB286}">
  <ds:schemaRefs>
    <ds:schemaRef ds:uri="http://schemas.microsoft.com/office/2006/documentManagement/types"/>
    <ds:schemaRef ds:uri="71f8beda-6e2c-48cd-9d88-52fc2b4a2290"/>
    <ds:schemaRef ds:uri="http://purl.org/dc/dcmitype/"/>
    <ds:schemaRef ds:uri="a86d18e8-8f0c-4f92-b458-2f06a26608e5"/>
    <ds:schemaRef ds:uri="http://purl.org/dc/terms/"/>
    <ds:schemaRef ds:uri="http://schemas.microsoft.com/office/infopath/2007/PartnerControls"/>
    <ds:schemaRef ds:uri="http://www.w3.org/XML/1998/namespace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5dfee0dc-fc1b-4053-85b5-e00d3e4815ed"/>
    <ds:schemaRef ds:uri="bff49ed9-44f3-4a71-bae2-c22d8a988e36"/>
  </ds:schemaRefs>
</ds:datastoreItem>
</file>

<file path=customXml/itemProps2.xml><?xml version="1.0" encoding="utf-8"?>
<ds:datastoreItem xmlns:ds="http://schemas.openxmlformats.org/officeDocument/2006/customXml" ds:itemID="{BEA031EA-53D5-474F-8205-0E1513F0960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158F8ED-FAD8-4935-9B02-0B23451B7A4D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4</TotalTime>
  <Words>58</Words>
  <Application>Microsoft Office PowerPoint</Application>
  <PresentationFormat>Widescreen</PresentationFormat>
  <Paragraphs>24</Paragraphs>
  <Slides>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0" baseType="lpstr">
      <vt:lpstr>Arial</vt:lpstr>
      <vt:lpstr>Calibri</vt:lpstr>
      <vt:lpstr>Courier New</vt:lpstr>
      <vt:lpstr>Wingdings</vt:lpstr>
      <vt:lpstr>Office Theme</vt:lpstr>
      <vt:lpstr>Content Slide Master</vt:lpstr>
      <vt:lpstr>think-cell Slide</vt:lpstr>
      <vt:lpstr>Pre-transfer list</vt:lpstr>
      <vt:lpstr>Changes to Physical Archtecture Design (if any)</vt:lpstr>
      <vt:lpstr>Pre-transfer</vt:lpstr>
    </vt:vector>
  </TitlesOfParts>
  <Company>Eskom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FathAND@eskom.co.za</dc:creator>
  <cp:lastModifiedBy>Raj Pandaram</cp:lastModifiedBy>
  <cp:revision>150</cp:revision>
  <dcterms:created xsi:type="dcterms:W3CDTF">2020-01-06T09:48:40Z</dcterms:created>
  <dcterms:modified xsi:type="dcterms:W3CDTF">2024-07-01T12:45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A4129E15EC9D445948A7BAAD5AC6DBA</vt:lpwstr>
  </property>
  <property fmtid="{D5CDD505-2E9C-101B-9397-08002B2CF9AE}" pid="3" name="MediaServiceImageTags">
    <vt:lpwstr/>
  </property>
</Properties>
</file>